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61" r:id="rId3"/>
    <p:sldId id="262" r:id="rId4"/>
    <p:sldId id="257" r:id="rId5"/>
    <p:sldId id="263" r:id="rId6"/>
    <p:sldId id="259" r:id="rId7"/>
    <p:sldId id="260" r:id="rId8"/>
    <p:sldId id="264" r:id="rId9"/>
    <p:sldId id="265" r:id="rId10"/>
    <p:sldId id="266" r:id="rId11"/>
    <p:sldId id="267" r:id="rId12"/>
    <p:sldId id="270" r:id="rId13"/>
    <p:sldId id="268" r:id="rId14"/>
    <p:sldId id="269" r:id="rId15"/>
    <p:sldId id="258" r:id="rId16"/>
  </p:sldIdLst>
  <p:sldSz cx="10688638" cy="7562850"/>
  <p:notesSz cx="6858000" cy="9144000"/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237" autoAdjust="0"/>
  </p:normalViewPr>
  <p:slideViewPr>
    <p:cSldViewPr snapToGrid="0" snapToObjects="1">
      <p:cViewPr varScale="1">
        <p:scale>
          <a:sx n="84" d="100"/>
          <a:sy n="84" d="100"/>
        </p:scale>
        <p:origin x="1182" y="84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2778" y="7123942"/>
            <a:ext cx="3774678" cy="40265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smtClean="0"/>
              <a:t>Inteligência de Mercado Grupo Bandeirant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3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3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3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3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30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30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3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9/3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3674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9/3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3774678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smtClean="0"/>
              <a:t>Inteligência de Mercado Grupo Bandeirante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388602" y="2953748"/>
            <a:ext cx="5236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reinamento 2ºsemestre</a:t>
            </a:r>
            <a:endParaRPr lang="pt-BR" sz="2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ão Paulo, </a:t>
            </a:r>
            <a:r>
              <a:rPr lang="pt-BR" sz="1100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xx</a:t>
            </a:r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de </a:t>
            </a:r>
            <a:r>
              <a:rPr lang="pt-BR" sz="1100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xx</a:t>
            </a:r>
            <a:r>
              <a:rPr lang="pt-BR" sz="11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de 2014</a:t>
            </a:r>
            <a:endParaRPr lang="pt-BR" sz="11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50336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genda do treinamento</a:t>
            </a:r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77240" y="1716673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Banco de dados da audiência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422910" y="1731645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1</a:t>
            </a:r>
            <a:endParaRPr lang="pt-BR" sz="18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777240" y="2216689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Resultado do questionário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422910" y="2231661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2</a:t>
            </a:r>
            <a:endParaRPr lang="pt-BR" sz="180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77240" y="2731677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Apresentação novo portal e </a:t>
            </a:r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help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422910" y="2746649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3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77240" y="3261544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Novos painéis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422910" y="3276516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4</a:t>
            </a:r>
            <a:endParaRPr lang="pt-BR" sz="1800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77240" y="3791411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Cases</a:t>
            </a:r>
            <a:endParaRPr lang="pt-BR" sz="1600" i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22910" y="3806383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5</a:t>
            </a:r>
            <a:endParaRPr lang="pt-BR" sz="18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777240" y="4336250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Gerenciamento dos planos comerciais (marketing)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422910" y="4351222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6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952050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50336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genda do treinamento</a:t>
            </a:r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77240" y="1716673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Banco de dados da audiência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422910" y="1731645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1</a:t>
            </a:r>
            <a:endParaRPr lang="pt-BR" sz="18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777240" y="2216689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Resultado do questionário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422910" y="2231661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2</a:t>
            </a:r>
            <a:endParaRPr lang="pt-BR" sz="180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77240" y="2731677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Apresentação novo portal e </a:t>
            </a:r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help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422910" y="2746649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3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77240" y="3261544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Novos painéis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422910" y="3276516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4</a:t>
            </a:r>
            <a:endParaRPr lang="pt-BR" sz="1800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77240" y="3791411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Cases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22910" y="3806383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5</a:t>
            </a:r>
            <a:endParaRPr lang="pt-BR" sz="18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777240" y="4336250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Gerenciamento dos planos comerciais (marketing)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422910" y="4351222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6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012430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3268980" y="3048357"/>
            <a:ext cx="370331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BACKUP</a:t>
            </a:r>
          </a:p>
          <a:p>
            <a:pPr algn="ctr"/>
            <a:r>
              <a:rPr lang="pt-BR" sz="24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GRP E CPP</a:t>
            </a:r>
            <a:endParaRPr lang="pt-BR" sz="4400" dirty="0" smtClean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82220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aixaDeTexto 15"/>
          <p:cNvSpPr txBox="1"/>
          <p:nvPr/>
        </p:nvSpPr>
        <p:spPr>
          <a:xfrm>
            <a:off x="146859" y="645598"/>
            <a:ext cx="5123828" cy="369328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pt-BR" sz="1800" b="1" dirty="0">
                <a:latin typeface="+mj-lt"/>
              </a:rPr>
              <a:t>GRP (Gross Rating Point) e TRP (Target Rating Point)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453887" y="1156935"/>
            <a:ext cx="9633600" cy="584771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>
            <a:defPPr>
              <a:defRPr lang="en-US"/>
            </a:defPPr>
            <a:lvl1pPr marL="285735" indent="-285735">
              <a:buFont typeface="Arial" panose="020B0604020202020204" pitchFamily="34" charset="0"/>
              <a:buChar char="•"/>
              <a:defRPr sz="1600" b="1">
                <a:latin typeface="+mn-lt"/>
              </a:defRPr>
            </a:lvl1pPr>
          </a:lstStyle>
          <a:p>
            <a:r>
              <a:rPr lang="pt-BR" b="0" dirty="0"/>
              <a:t>GRP é a somatória dos pontos da </a:t>
            </a:r>
            <a:r>
              <a:rPr lang="pt-BR" dirty="0"/>
              <a:t>audiência </a:t>
            </a:r>
            <a:r>
              <a:rPr lang="pt-BR" dirty="0" smtClean="0"/>
              <a:t>domiciliar</a:t>
            </a:r>
            <a:r>
              <a:rPr lang="pt-BR" b="0" dirty="0" smtClean="0"/>
              <a:t>, referente aos </a:t>
            </a:r>
            <a:r>
              <a:rPr lang="pt-BR" b="0" dirty="0"/>
              <a:t>programas onde os comerciais foram veiculados; e o TRP indica a quantidade de </a:t>
            </a:r>
            <a:r>
              <a:rPr lang="pt-BR" dirty="0"/>
              <a:t>audiência específica no público-alvo</a:t>
            </a:r>
            <a:r>
              <a:rPr lang="pt-BR" b="0" dirty="0"/>
              <a:t>.</a:t>
            </a:r>
          </a:p>
        </p:txBody>
      </p:sp>
      <p:graphicFrame>
        <p:nvGraphicFramePr>
          <p:cNvPr id="18" name="Tabe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792680"/>
              </p:ext>
            </p:extLst>
          </p:nvPr>
        </p:nvGraphicFramePr>
        <p:xfrm>
          <a:off x="2524635" y="1982039"/>
          <a:ext cx="7200822" cy="199909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201342"/>
                <a:gridCol w="1850156"/>
                <a:gridCol w="1603833"/>
                <a:gridCol w="1545491"/>
              </a:tblGrid>
              <a:tr h="548639"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>
                          <a:latin typeface="+mj-lt"/>
                        </a:rPr>
                        <a:t>Programas</a:t>
                      </a:r>
                      <a:endParaRPr lang="pt-BR" sz="1500" dirty="0">
                        <a:latin typeface="+mj-lt"/>
                      </a:endParaRP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>
                          <a:latin typeface="+mj-lt"/>
                        </a:rPr>
                        <a:t>Aud.</a:t>
                      </a:r>
                      <a:r>
                        <a:rPr lang="pt-BR" sz="1500" baseline="0" dirty="0" smtClean="0">
                          <a:latin typeface="+mj-lt"/>
                        </a:rPr>
                        <a:t> </a:t>
                      </a:r>
                    </a:p>
                    <a:p>
                      <a:pPr algn="ctr"/>
                      <a:r>
                        <a:rPr lang="pt-BR" sz="1500" baseline="0" dirty="0" smtClean="0">
                          <a:latin typeface="+mj-lt"/>
                        </a:rPr>
                        <a:t>Domiciliar (%)</a:t>
                      </a:r>
                      <a:endParaRPr lang="pt-BR" sz="1500" dirty="0">
                        <a:latin typeface="+mj-lt"/>
                      </a:endParaRP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Nº inserções</a:t>
                      </a: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>
                          <a:latin typeface="+mj-lt"/>
                        </a:rPr>
                        <a:t>Total GRP</a:t>
                      </a: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CQC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3,8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3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11,4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Jornal da Band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3,6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4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14,4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Brasil Urgente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3,9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2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7,8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37932">
                <a:tc>
                  <a:txBody>
                    <a:bodyPr/>
                    <a:lstStyle/>
                    <a:p>
                      <a:endParaRPr lang="pt-BR" sz="15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5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5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solidFill>
                            <a:schemeClr val="bg1"/>
                          </a:solidFill>
                        </a:rPr>
                        <a:t>33,6</a:t>
                      </a:r>
                      <a:endParaRPr lang="pt-BR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1944950"/>
              </p:ext>
            </p:extLst>
          </p:nvPr>
        </p:nvGraphicFramePr>
        <p:xfrm>
          <a:off x="2524635" y="4379642"/>
          <a:ext cx="7200822" cy="199909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201342"/>
                <a:gridCol w="1850156"/>
                <a:gridCol w="1603833"/>
                <a:gridCol w="1545491"/>
              </a:tblGrid>
              <a:tr h="548639"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>
                          <a:latin typeface="+mn-lt"/>
                        </a:rPr>
                        <a:t>Programas</a:t>
                      </a:r>
                      <a:endParaRPr lang="pt-BR" sz="1500" dirty="0">
                        <a:latin typeface="+mn-lt"/>
                      </a:endParaRP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>
                          <a:latin typeface="+mn-lt"/>
                        </a:rPr>
                        <a:t>Aud.</a:t>
                      </a:r>
                      <a:r>
                        <a:rPr lang="pt-BR" sz="1500" baseline="0" dirty="0" smtClean="0">
                          <a:latin typeface="+mn-lt"/>
                        </a:rPr>
                        <a:t> </a:t>
                      </a:r>
                    </a:p>
                    <a:p>
                      <a:pPr algn="ctr"/>
                      <a:r>
                        <a:rPr lang="pt-BR" sz="1500" baseline="0" dirty="0" smtClean="0">
                          <a:latin typeface="+mn-lt"/>
                        </a:rPr>
                        <a:t>AS AB 25+ (%)</a:t>
                      </a:r>
                      <a:endParaRPr lang="pt-BR" sz="1500" dirty="0">
                        <a:latin typeface="+mn-lt"/>
                      </a:endParaRP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º inserções</a:t>
                      </a: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>
                          <a:latin typeface="+mn-lt"/>
                        </a:rPr>
                        <a:t>Total TRP</a:t>
                      </a: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CQC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2,5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3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7,5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Jornal da Band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1,9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4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7,6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Brasil Urgente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1,8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2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3,6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37932">
                <a:tc>
                  <a:txBody>
                    <a:bodyPr/>
                    <a:lstStyle/>
                    <a:p>
                      <a:endParaRPr lang="pt-BR" sz="15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5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5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0" dirty="0" smtClean="0">
                          <a:solidFill>
                            <a:schemeClr val="bg1"/>
                          </a:solidFill>
                        </a:rPr>
                        <a:t>18,7</a:t>
                      </a:r>
                      <a:endParaRPr lang="pt-BR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</a:tr>
            </a:tbl>
          </a:graphicData>
        </a:graphic>
      </p:graphicFrame>
      <p:sp>
        <p:nvSpPr>
          <p:cNvPr id="22" name="Forma livre 21"/>
          <p:cNvSpPr/>
          <p:nvPr/>
        </p:nvSpPr>
        <p:spPr>
          <a:xfrm>
            <a:off x="146859" y="3314580"/>
            <a:ext cx="2221847" cy="1333108"/>
          </a:xfrm>
          <a:custGeom>
            <a:avLst/>
            <a:gdLst>
              <a:gd name="connsiteX0" fmla="*/ 0 w 2221847"/>
              <a:gd name="connsiteY0" fmla="*/ 0 h 1333108"/>
              <a:gd name="connsiteX1" fmla="*/ 2221847 w 2221847"/>
              <a:gd name="connsiteY1" fmla="*/ 0 h 1333108"/>
              <a:gd name="connsiteX2" fmla="*/ 2221847 w 2221847"/>
              <a:gd name="connsiteY2" fmla="*/ 1333108 h 1333108"/>
              <a:gd name="connsiteX3" fmla="*/ 0 w 2221847"/>
              <a:gd name="connsiteY3" fmla="*/ 1333108 h 1333108"/>
              <a:gd name="connsiteX4" fmla="*/ 0 w 2221847"/>
              <a:gd name="connsiteY4" fmla="*/ 0 h 1333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21847" h="1333108">
                <a:moveTo>
                  <a:pt x="0" y="0"/>
                </a:moveTo>
                <a:lnTo>
                  <a:pt x="2221847" y="0"/>
                </a:lnTo>
                <a:lnTo>
                  <a:pt x="2221847" y="1333108"/>
                </a:lnTo>
                <a:lnTo>
                  <a:pt x="0" y="1333108"/>
                </a:lnTo>
                <a:lnTo>
                  <a:pt x="0" y="0"/>
                </a:lnTo>
                <a:close/>
              </a:path>
            </a:pathLst>
          </a:custGeom>
          <a:solidFill>
            <a:srgbClr val="007A3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06" tIns="80006" rIns="80006" bIns="80006" numCol="1" spcCol="1270" anchor="ctr" anchorCtr="0">
            <a:noAutofit/>
          </a:bodyPr>
          <a:lstStyle/>
          <a:p>
            <a:pPr algn="ctr" defTabSz="933403">
              <a:lnSpc>
                <a:spcPct val="90000"/>
              </a:lnSpc>
              <a:spcAft>
                <a:spcPct val="35000"/>
              </a:spcAft>
            </a:pPr>
            <a:r>
              <a:rPr lang="pt-BR" sz="2000" dirty="0"/>
              <a:t>Não podemos somar GRP ou TRP de praças diferentes!!!</a:t>
            </a:r>
          </a:p>
        </p:txBody>
      </p:sp>
    </p:spTree>
    <p:extLst>
      <p:ext uri="{BB962C8B-B14F-4D97-AF65-F5344CB8AC3E}">
        <p14:creationId xmlns:p14="http://schemas.microsoft.com/office/powerpoint/2010/main" val="1042242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ixaDeTexto 6"/>
          <p:cNvSpPr txBox="1"/>
          <p:nvPr/>
        </p:nvSpPr>
        <p:spPr>
          <a:xfrm>
            <a:off x="224700" y="625490"/>
            <a:ext cx="4435756" cy="369328"/>
          </a:xfrm>
          <a:prstGeom prst="rect">
            <a:avLst/>
          </a:prstGeom>
          <a:noFill/>
        </p:spPr>
        <p:txBody>
          <a:bodyPr wrap="none" lIns="91435" tIns="45718" rIns="91435" bIns="45718" rtlCol="0">
            <a:spAutoFit/>
          </a:bodyPr>
          <a:lstStyle/>
          <a:p>
            <a:r>
              <a:rPr lang="pt-BR" sz="1800" b="1" dirty="0">
                <a:latin typeface="+mj-lt"/>
              </a:rPr>
              <a:t>CPM (Custo por Mil) e CPP (Custo por </a:t>
            </a:r>
            <a:r>
              <a:rPr lang="pt-BR" sz="1800" b="1" dirty="0" smtClean="0">
                <a:latin typeface="+mj-lt"/>
              </a:rPr>
              <a:t>Ponto)</a:t>
            </a:r>
            <a:endParaRPr lang="pt-BR" sz="1800" b="1" dirty="0">
              <a:latin typeface="+mj-lt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501467" y="1050875"/>
            <a:ext cx="9633600" cy="584771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marL="285735" indent="-285735">
              <a:buFont typeface="Arial" panose="020B0604020202020204" pitchFamily="34" charset="0"/>
              <a:buChar char="•"/>
            </a:pPr>
            <a:r>
              <a:rPr lang="pt-BR" sz="1600" dirty="0">
                <a:latin typeface="+mn-lt"/>
              </a:rPr>
              <a:t>CPM c</a:t>
            </a:r>
            <a:r>
              <a:rPr lang="pt-BR" sz="1600" dirty="0">
                <a:latin typeface="+mn-lt"/>
                <a:cs typeface="Arial" pitchFamily="34" charset="0"/>
              </a:rPr>
              <a:t>orresponde ao valor que se paga para </a:t>
            </a:r>
            <a:r>
              <a:rPr lang="pt-BR" sz="1600" b="1" dirty="0">
                <a:latin typeface="+mn-lt"/>
                <a:cs typeface="Arial" pitchFamily="34" charset="0"/>
              </a:rPr>
              <a:t>atingir 1.000 Domicílios ou Indivíduos</a:t>
            </a:r>
            <a:r>
              <a:rPr lang="pt-BR" sz="1600" dirty="0">
                <a:latin typeface="+mn-lt"/>
                <a:cs typeface="Arial" pitchFamily="34" charset="0"/>
              </a:rPr>
              <a:t>.</a:t>
            </a:r>
          </a:p>
          <a:p>
            <a:pPr marL="285735" indent="-285735">
              <a:buFont typeface="Arial" panose="020B0604020202020204" pitchFamily="34" charset="0"/>
              <a:buChar char="•"/>
            </a:pPr>
            <a:r>
              <a:rPr lang="pt-BR" sz="1600" dirty="0">
                <a:latin typeface="+mn-lt"/>
                <a:cs typeface="Arial" pitchFamily="34" charset="0"/>
              </a:rPr>
              <a:t>O CPP é o valor pago por </a:t>
            </a:r>
            <a:r>
              <a:rPr lang="pt-BR" sz="1600" b="1" dirty="0">
                <a:latin typeface="+mn-lt"/>
                <a:cs typeface="Arial" pitchFamily="34" charset="0"/>
              </a:rPr>
              <a:t>cada ponto de audiência </a:t>
            </a:r>
            <a:r>
              <a:rPr lang="pt-BR" sz="1600" dirty="0">
                <a:latin typeface="+mn-lt"/>
                <a:cs typeface="Arial" pitchFamily="34" charset="0"/>
              </a:rPr>
              <a:t>do seu </a:t>
            </a:r>
            <a:r>
              <a:rPr lang="pt-BR" sz="1600" b="1" dirty="0">
                <a:latin typeface="+mn-lt"/>
                <a:cs typeface="Arial" pitchFamily="34" charset="0"/>
              </a:rPr>
              <a:t>público-alvo</a:t>
            </a:r>
            <a:r>
              <a:rPr lang="pt-BR" sz="1600" dirty="0">
                <a:latin typeface="+mn-lt"/>
                <a:cs typeface="Arial" pitchFamily="34" charset="0"/>
              </a:rPr>
              <a:t> (Target).</a:t>
            </a:r>
            <a:endParaRPr lang="pt-BR" sz="1600" dirty="0">
              <a:latin typeface="+mn-lt"/>
            </a:endParaRP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6533505"/>
              </p:ext>
            </p:extLst>
          </p:nvPr>
        </p:nvGraphicFramePr>
        <p:xfrm>
          <a:off x="1717856" y="1875615"/>
          <a:ext cx="7200822" cy="182129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201342"/>
                <a:gridCol w="1850156"/>
                <a:gridCol w="1603833"/>
                <a:gridCol w="1545491"/>
              </a:tblGrid>
              <a:tr h="370841"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>
                          <a:latin typeface="+mn-lt"/>
                        </a:rPr>
                        <a:t>Programas</a:t>
                      </a:r>
                      <a:endParaRPr lang="pt-BR" sz="1500" dirty="0">
                        <a:latin typeface="+mn-lt"/>
                      </a:endParaRP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>
                          <a:latin typeface="+mn-lt"/>
                        </a:rPr>
                        <a:t>Custo Negociado</a:t>
                      </a:r>
                      <a:endParaRPr lang="pt-BR" sz="1500" dirty="0">
                        <a:latin typeface="+mn-lt"/>
                      </a:endParaRP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udiência (#)</a:t>
                      </a: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>
                          <a:latin typeface="+mn-lt"/>
                        </a:rPr>
                        <a:t>CPM</a:t>
                      </a: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CQC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19.805,00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302,2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65,54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Jornal da Band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53.964,00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277,5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194,10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Brasil Urgente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29.232,00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304,9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95,87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37932">
                <a:tc>
                  <a:txBody>
                    <a:bodyPr/>
                    <a:lstStyle/>
                    <a:p>
                      <a:r>
                        <a:rPr lang="pt-BR" sz="1500" b="1" dirty="0" smtClean="0">
                          <a:solidFill>
                            <a:schemeClr val="bg1"/>
                          </a:solidFill>
                        </a:rPr>
                        <a:t>CPM</a:t>
                      </a:r>
                      <a:r>
                        <a:rPr lang="pt-BR" sz="1500" b="1" baseline="0" dirty="0" smtClean="0">
                          <a:solidFill>
                            <a:schemeClr val="bg1"/>
                          </a:solidFill>
                        </a:rPr>
                        <a:t> Médio</a:t>
                      </a:r>
                      <a:endParaRPr lang="pt-BR" sz="15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>
                          <a:solidFill>
                            <a:schemeClr val="bg1"/>
                          </a:solidFill>
                        </a:rPr>
                        <a:t>R$ 102.901,00</a:t>
                      </a:r>
                      <a:endParaRPr lang="pt-BR" sz="15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>
                          <a:solidFill>
                            <a:schemeClr val="bg1"/>
                          </a:solidFill>
                        </a:rPr>
                        <a:t>884,60</a:t>
                      </a:r>
                      <a:endParaRPr lang="pt-BR" sz="15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R$ 116,32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0928652"/>
              </p:ext>
            </p:extLst>
          </p:nvPr>
        </p:nvGraphicFramePr>
        <p:xfrm>
          <a:off x="1717856" y="4145126"/>
          <a:ext cx="7200822" cy="182129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201342"/>
                <a:gridCol w="1850156"/>
                <a:gridCol w="1603833"/>
                <a:gridCol w="1545491"/>
              </a:tblGrid>
              <a:tr h="370841"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>
                          <a:latin typeface="+mn-lt"/>
                        </a:rPr>
                        <a:t>Programas</a:t>
                      </a:r>
                      <a:endParaRPr lang="pt-BR" sz="1500" dirty="0">
                        <a:latin typeface="+mn-lt"/>
                      </a:endParaRP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dirty="0" smtClean="0">
                          <a:latin typeface="+mn-lt"/>
                        </a:rPr>
                        <a:t>Custo Negociado</a:t>
                      </a:r>
                      <a:endParaRPr lang="pt-BR" sz="1500" dirty="0">
                        <a:latin typeface="+mn-lt"/>
                      </a:endParaRP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S AB 25+ (%)</a:t>
                      </a:r>
                      <a:endParaRPr lang="pt-BR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dirty="0" smtClean="0">
                          <a:latin typeface="+mn-lt"/>
                        </a:rPr>
                        <a:t>CPP</a:t>
                      </a:r>
                    </a:p>
                  </a:txBody>
                  <a:tcPr anchor="ctr">
                    <a:solidFill>
                      <a:srgbClr val="007A37"/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CQC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19.805,00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2,5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7.922,00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Jornal da Band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53.964,00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1,9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28.349,47</a:t>
                      </a:r>
                      <a:endParaRPr lang="pt-BR" sz="1500" b="1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370841">
                <a:tc>
                  <a:txBody>
                    <a:bodyPr/>
                    <a:lstStyle/>
                    <a:p>
                      <a:r>
                        <a:rPr lang="pt-BR" sz="1500" b="1" dirty="0" smtClean="0"/>
                        <a:t>Brasil Urgente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29.232,00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1,8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/>
                        <a:t>R$ 16.240,00</a:t>
                      </a:r>
                      <a:endParaRPr lang="pt-BR" sz="1500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37932">
                <a:tc>
                  <a:txBody>
                    <a:bodyPr/>
                    <a:lstStyle/>
                    <a:p>
                      <a:r>
                        <a:rPr lang="pt-BR" sz="1500" b="1" dirty="0" smtClean="0">
                          <a:solidFill>
                            <a:schemeClr val="bg1"/>
                          </a:solidFill>
                        </a:rPr>
                        <a:t>CPP Médio</a:t>
                      </a:r>
                      <a:endParaRPr lang="pt-BR" sz="15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>
                          <a:solidFill>
                            <a:schemeClr val="bg1"/>
                          </a:solidFill>
                        </a:rPr>
                        <a:t>R$ 102.901,00</a:t>
                      </a:r>
                      <a:endParaRPr lang="pt-BR" sz="15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500" b="1" dirty="0" smtClean="0">
                          <a:solidFill>
                            <a:schemeClr val="bg1"/>
                          </a:solidFill>
                        </a:rPr>
                        <a:t>6,20</a:t>
                      </a:r>
                      <a:endParaRPr lang="pt-BR" sz="15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R$ 16.596,94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A37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7185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584" y="0"/>
            <a:ext cx="10709648" cy="7571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80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50336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genda do treinamento</a:t>
            </a:r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77240" y="1716673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Banco de dados da audiência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422910" y="1731645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1</a:t>
            </a:r>
            <a:endParaRPr lang="pt-BR" sz="18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777240" y="2216689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Resultado do questionário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422910" y="2231661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2</a:t>
            </a:r>
            <a:endParaRPr lang="pt-BR" sz="180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77240" y="2731677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presentação novo portal e </a:t>
            </a:r>
            <a:r>
              <a:rPr lang="pt-BR" sz="16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help</a:t>
            </a:r>
            <a:endParaRPr lang="pt-BR" sz="1600" i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422910" y="2746649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3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77240" y="3261544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Novos painéis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422910" y="3276516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4</a:t>
            </a:r>
            <a:endParaRPr lang="pt-BR" sz="1800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77240" y="3791411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Cases</a:t>
            </a:r>
            <a:endParaRPr lang="pt-BR" sz="1600" i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22910" y="3806383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5</a:t>
            </a:r>
            <a:endParaRPr lang="pt-BR" sz="18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777240" y="4336250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Gerenciamento dos planos comerciais (marketing)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422910" y="4351222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6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65565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50336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genda do treinamento</a:t>
            </a:r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77240" y="1716673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Banco de dados da audiência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422910" y="1731645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1</a:t>
            </a:r>
            <a:endParaRPr lang="pt-BR" sz="18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777240" y="2216689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Resultado do questionário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422910" y="2231661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2</a:t>
            </a:r>
            <a:endParaRPr lang="pt-BR" sz="180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77240" y="2731677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Apresentação novo portal e </a:t>
            </a:r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help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422910" y="2746649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3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77240" y="3261544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Novos painéis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422910" y="3276516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4</a:t>
            </a:r>
            <a:endParaRPr lang="pt-BR" sz="1800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77240" y="3791411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Cases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22910" y="3806383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5</a:t>
            </a:r>
            <a:endParaRPr lang="pt-BR" sz="18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777240" y="4336250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Gerenciamento dos planos comerciais (marketing)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422910" y="4351222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6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601000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50336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Dados de audiência para:</a:t>
            </a:r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5989320" y="6915150"/>
            <a:ext cx="40233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 smtClean="0">
                <a:latin typeface="Trebuchet MS" panose="020B0603020202020204" pitchFamily="34" charset="0"/>
              </a:rPr>
              <a:t>* : Dados extraídos do caderno referente ao ano de 2013</a:t>
            </a:r>
            <a:endParaRPr lang="pt-BR" sz="1000" dirty="0">
              <a:latin typeface="Trebuchet MS" panose="020B060302020202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5008155"/>
              </p:ext>
            </p:extLst>
          </p:nvPr>
        </p:nvGraphicFramePr>
        <p:xfrm>
          <a:off x="274319" y="1143282"/>
          <a:ext cx="10298430" cy="54665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7801"/>
                <a:gridCol w="1477801"/>
                <a:gridCol w="1467809"/>
                <a:gridCol w="857250"/>
                <a:gridCol w="1623060"/>
                <a:gridCol w="3394709"/>
              </a:tblGrid>
              <a:tr h="345929"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REGIÃO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AÇ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/AFILIAD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UDIÊNC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STEM</a:t>
                      </a:r>
                      <a:r>
                        <a:rPr lang="pt-BR" sz="1000" baseline="0" dirty="0" smtClean="0"/>
                        <a:t>A UTILIZADO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OBS</a:t>
                      </a:r>
                      <a:endParaRPr lang="pt-BR" sz="1000" dirty="0"/>
                    </a:p>
                  </a:txBody>
                  <a:tcPr/>
                </a:tc>
              </a:tr>
              <a:tr h="180000">
                <a:tc rowSpan="9">
                  <a:txBody>
                    <a:bodyPr/>
                    <a:lstStyle/>
                    <a:p>
                      <a:r>
                        <a:rPr lang="pt-BR" sz="1000" dirty="0" smtClean="0"/>
                        <a:t>SUDESTE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ÃO PAULO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CAMPINAS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P INTERIOR*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OMENTE</a:t>
                      </a:r>
                      <a:r>
                        <a:rPr lang="pt-BR" sz="1000" baseline="0" dirty="0" smtClean="0"/>
                        <a:t> PARA PRESIDENTE PRUDENTE – DADOS  ATÉ 2013</a:t>
                      </a:r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VALE*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baseline="0" dirty="0" smtClean="0"/>
                        <a:t>DADOS ATÉ 2013</a:t>
                      </a:r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RIO DE JANEIRO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BARRA MANS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NÃO</a:t>
                      </a:r>
                      <a:endParaRPr lang="pt-BR" sz="10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BELO HORIZONTE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SI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TRIÂNGULO*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DADOS</a:t>
                      </a:r>
                      <a:r>
                        <a:rPr lang="pt-BR" sz="1000" baseline="0" dirty="0" smtClean="0"/>
                        <a:t> ATÉ 2013</a:t>
                      </a:r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VITÓRIA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FILIADA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TRASO</a:t>
                      </a:r>
                      <a:r>
                        <a:rPr lang="pt-BR" sz="1000" baseline="0" dirty="0" smtClean="0"/>
                        <a:t> DE 02 SEMANAS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 rowSpan="3">
                  <a:txBody>
                    <a:bodyPr/>
                    <a:lstStyle/>
                    <a:p>
                      <a:r>
                        <a:rPr lang="pt-BR" sz="1000" dirty="0" smtClean="0"/>
                        <a:t>SUL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ORTO ALEGRE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CURITIB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SI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FLORIANÓPOLIS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FILIADA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SIM</a:t>
                      </a:r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DADOS SOMENTE ATÉ 2011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 rowSpan="4">
                  <a:txBody>
                    <a:bodyPr/>
                    <a:lstStyle/>
                    <a:p>
                      <a:r>
                        <a:rPr lang="pt-BR" sz="1000" dirty="0" smtClean="0"/>
                        <a:t>NORDESTE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ALVADOR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NATAL*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DADOS ATÉ 2013</a:t>
                      </a:r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FORTALEZ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FILIAD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RECIFE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FILIADA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TRASO</a:t>
                      </a:r>
                      <a:r>
                        <a:rPr lang="pt-BR" sz="1000" baseline="0" dirty="0" smtClean="0"/>
                        <a:t> DE 02 SEMANAS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 rowSpan="2">
                  <a:txBody>
                    <a:bodyPr/>
                    <a:lstStyle/>
                    <a:p>
                      <a:r>
                        <a:rPr lang="pt-BR" sz="1000" dirty="0" smtClean="0"/>
                        <a:t>CENTRO-OESTE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BRASÍLIA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GOIÂNIA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FILIADA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TRASO</a:t>
                      </a:r>
                      <a:r>
                        <a:rPr lang="pt-BR" sz="1000" baseline="0" dirty="0" smtClean="0"/>
                        <a:t> DE 02 SEMANAS</a:t>
                      </a:r>
                      <a:endParaRPr lang="pt-BR" sz="1000" dirty="0"/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000">
                <a:tc rowSpan="3">
                  <a:txBody>
                    <a:bodyPr/>
                    <a:lstStyle/>
                    <a:p>
                      <a:r>
                        <a:rPr lang="pt-BR" sz="1000" dirty="0" smtClean="0"/>
                        <a:t>NORTE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ANAUS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NÃO</a:t>
                      </a:r>
                      <a:endParaRPr lang="pt-BR" sz="10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DADOS ATÉ 2013</a:t>
                      </a:r>
                      <a:endParaRPr lang="pt-BR" sz="1000" dirty="0"/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ALMAS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PRÓPRI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rgbClr val="FF0000"/>
                          </a:solidFill>
                        </a:rPr>
                        <a:t>NÃO</a:t>
                      </a:r>
                      <a:endParaRPr lang="pt-BR" sz="10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</a:tr>
              <a:tr h="180000">
                <a:tc vMerge="1">
                  <a:txBody>
                    <a:bodyPr/>
                    <a:lstStyle/>
                    <a:p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BELE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AFILIADA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SIM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/>
                        <a:t>Media Workstation</a:t>
                      </a:r>
                      <a:r>
                        <a:rPr lang="pt-BR" sz="1000" baseline="0" dirty="0" smtClean="0"/>
                        <a:t> (MW)</a:t>
                      </a:r>
                      <a:endParaRPr lang="pt-B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5214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smtClean="0"/>
                        <a:t>ATRASO</a:t>
                      </a:r>
                      <a:r>
                        <a:rPr lang="pt-BR" sz="1000" baseline="0" dirty="0" smtClean="0"/>
                        <a:t> DE 02 SEMANAS</a:t>
                      </a:r>
                      <a:endParaRPr lang="pt-BR" sz="1000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479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50336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genda do treinamento</a:t>
            </a:r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77240" y="1716673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Banco de dados da audiência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422910" y="1731645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1</a:t>
            </a:r>
            <a:endParaRPr lang="pt-BR" sz="18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777240" y="2216689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Resultado do questionário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422910" y="2231661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2</a:t>
            </a:r>
            <a:endParaRPr lang="pt-BR" sz="180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77240" y="2731677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Apresentação novo portal e </a:t>
            </a:r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help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422910" y="2746649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3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77240" y="3261544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Novos painéis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422910" y="3276516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4</a:t>
            </a:r>
            <a:endParaRPr lang="pt-BR" sz="1800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77240" y="3791411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Cases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22910" y="3806383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5</a:t>
            </a:r>
            <a:endParaRPr lang="pt-BR" sz="18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777240" y="4336250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Gerenciamento dos planos comerciais (marketing)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422910" y="4351222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6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741120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80283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ugestões e observações recebidos através do questionário:</a:t>
            </a:r>
            <a:endParaRPr lang="pt-BR" sz="20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3" name="Elipse 2"/>
          <p:cNvSpPr/>
          <p:nvPr/>
        </p:nvSpPr>
        <p:spPr>
          <a:xfrm>
            <a:off x="422910" y="1434465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1</a:t>
            </a:r>
            <a:endParaRPr lang="pt-BR" sz="1800" dirty="0"/>
          </a:p>
        </p:txBody>
      </p:sp>
      <p:sp>
        <p:nvSpPr>
          <p:cNvPr id="6" name="CaixaDeTexto 5"/>
          <p:cNvSpPr txBox="1"/>
          <p:nvPr/>
        </p:nvSpPr>
        <p:spPr>
          <a:xfrm>
            <a:off x="777240" y="1419493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nálises comportamentais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144141" y="1959573"/>
            <a:ext cx="102457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emos </a:t>
            </a:r>
            <a:r>
              <a:rPr lang="pt-BR" sz="1400" b="1" dirty="0" smtClean="0">
                <a:solidFill>
                  <a:srgbClr val="FF0000"/>
                </a:solidFill>
                <a:latin typeface="Trebuchet MS" panose="020B0603020202020204" pitchFamily="34" charset="0"/>
                <a:ea typeface="MS PGothic" pitchFamily="34" charset="-128"/>
              </a:rPr>
              <a:t>02</a:t>
            </a:r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</a:t>
            </a:r>
            <a:r>
              <a:rPr lang="pt-BR" sz="1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maneiras para defesas comportamentais</a:t>
            </a:r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:</a:t>
            </a:r>
          </a:p>
          <a:p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(</a:t>
            </a:r>
            <a:r>
              <a:rPr lang="pt-BR" sz="1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1) utilizando o painel "Análise </a:t>
            </a:r>
            <a:r>
              <a:rPr lang="pt-BR" sz="1400" dirty="0" err="1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argets</a:t>
            </a:r>
            <a:r>
              <a:rPr lang="pt-BR" sz="1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Comportamentais" disponível no Portal IM no qual contempla as praças Net, SP e RJ; (2) solicitar ao IM uma pesquisa no TGI que contempla hábitos de consumo e </a:t>
            </a:r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nálises de comportamento.</a:t>
            </a:r>
            <a:endParaRPr lang="pt-BR" sz="1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8" name="Elipse 7"/>
          <p:cNvSpPr/>
          <p:nvPr/>
        </p:nvSpPr>
        <p:spPr>
          <a:xfrm>
            <a:off x="422910" y="2931344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2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77240" y="2916372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Cases</a:t>
            </a:r>
            <a:endParaRPr lang="pt-BR" sz="1600" i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44140" y="3446952"/>
            <a:ext cx="102457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O segundo treinamento será focado na resolução de </a:t>
            </a:r>
            <a:r>
              <a:rPr lang="pt-BR" sz="1400" i="1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cases</a:t>
            </a:r>
            <a:r>
              <a:rPr lang="pt-BR" sz="1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reais ocorridos durante todo o ano e </a:t>
            </a:r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 resolução </a:t>
            </a:r>
            <a:r>
              <a:rPr lang="pt-BR" sz="1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de 01 </a:t>
            </a:r>
            <a:r>
              <a:rPr lang="pt-BR" sz="1400" i="1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case</a:t>
            </a:r>
            <a:r>
              <a:rPr lang="pt-BR" sz="1400" dirty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local.</a:t>
            </a:r>
          </a:p>
        </p:txBody>
      </p:sp>
      <p:sp>
        <p:nvSpPr>
          <p:cNvPr id="11" name="Elipse 10"/>
          <p:cNvSpPr/>
          <p:nvPr/>
        </p:nvSpPr>
        <p:spPr>
          <a:xfrm>
            <a:off x="422911" y="3992717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3</a:t>
            </a:r>
            <a:endParaRPr lang="pt-BR" sz="1800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77241" y="3977745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uporte de um profissional do IM para às praças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144141" y="4508325"/>
            <a:ext cx="102457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s praças devem alinhar o orçamento para a contratação de um profissional para a área de planejamento comercial.</a:t>
            </a:r>
            <a:endParaRPr lang="pt-BR" sz="1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4" name="Elipse 13"/>
          <p:cNvSpPr/>
          <p:nvPr/>
        </p:nvSpPr>
        <p:spPr>
          <a:xfrm>
            <a:off x="422910" y="5037641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4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777240" y="5022669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Plan</a:t>
            </a:r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</a:t>
            </a:r>
            <a:r>
              <a:rPr lang="pt-BR" sz="1600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View</a:t>
            </a:r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Rio de Janeiro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144140" y="5553249"/>
            <a:ext cx="102457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olicitar ao Diretor Comercial a disponibilidade de orçamento para este módulo do Ibope.</a:t>
            </a:r>
            <a:endParaRPr lang="pt-BR" sz="1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2553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80283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ugestões e observações recebidos através do questionário</a:t>
            </a:r>
            <a:endParaRPr lang="pt-BR" sz="20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3" name="Elipse 2"/>
          <p:cNvSpPr/>
          <p:nvPr/>
        </p:nvSpPr>
        <p:spPr>
          <a:xfrm>
            <a:off x="422910" y="1434465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5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777240" y="1419493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Painéis explicativos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144141" y="1959573"/>
            <a:ext cx="102457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Todos os painéis têm uma nova ferramenta chamada </a:t>
            </a:r>
            <a:r>
              <a:rPr lang="pt-BR" sz="14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help</a:t>
            </a:r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onde é possível verificar quais são as etapas para a utilização do painel, assim como, uma breve descrição do seu objetivo.</a:t>
            </a:r>
            <a:endParaRPr lang="pt-BR" sz="1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8" name="Elipse 7"/>
          <p:cNvSpPr/>
          <p:nvPr/>
        </p:nvSpPr>
        <p:spPr>
          <a:xfrm>
            <a:off x="422910" y="2699291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6</a:t>
            </a:r>
            <a:endParaRPr lang="pt-BR" sz="1800" dirty="0"/>
          </a:p>
        </p:txBody>
      </p:sp>
      <p:sp>
        <p:nvSpPr>
          <p:cNvPr id="9" name="CaixaDeTexto 8"/>
          <p:cNvSpPr txBox="1"/>
          <p:nvPr/>
        </p:nvSpPr>
        <p:spPr>
          <a:xfrm>
            <a:off x="777240" y="2684319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Novos painéis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44140" y="3214899"/>
            <a:ext cx="1024572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Para facilitar a elaboração das análises comerciais, estão disponíveis os seguintes painéis:</a:t>
            </a:r>
          </a:p>
          <a:p>
            <a:endParaRPr lang="pt-BR" sz="1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  <a:p>
            <a:pPr marL="807187" lvl="1" indent="-285750">
              <a:buFont typeface="Arial" panose="020B0604020202020204" pitchFamily="34" charset="0"/>
              <a:buChar char="•"/>
            </a:pPr>
            <a:r>
              <a:rPr lang="pt-BR" sz="1400" i="1" dirty="0" err="1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Share</a:t>
            </a:r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 por meio;</a:t>
            </a:r>
          </a:p>
          <a:p>
            <a:pPr marL="807187" lvl="1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Investimento da categoria (por meio e por emissora);</a:t>
            </a:r>
          </a:p>
          <a:p>
            <a:pPr marL="807187" lvl="1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Cálculo de GRP ou TRP.</a:t>
            </a:r>
          </a:p>
          <a:p>
            <a:pPr marL="807187" lvl="1" indent="-285750">
              <a:buFont typeface="Arial" panose="020B0604020202020204" pitchFamily="34" charset="0"/>
              <a:buChar char="•"/>
            </a:pPr>
            <a:endParaRPr lang="pt-BR" sz="1400" dirty="0" smtClean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  <a:p>
            <a:pPr marL="807187" lvl="1" indent="-285750">
              <a:buFont typeface="Arial" panose="020B0604020202020204" pitchFamily="34" charset="0"/>
              <a:buChar char="•"/>
            </a:pPr>
            <a:endParaRPr lang="pt-BR" sz="1400" dirty="0" smtClean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  <a:p>
            <a:pPr marL="807187" lvl="1" indent="-285750">
              <a:buFont typeface="Arial" panose="020B0604020202020204" pitchFamily="34" charset="0"/>
              <a:buChar char="•"/>
            </a:pPr>
            <a:endParaRPr lang="pt-BR" sz="14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86250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50336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genda do treinamento</a:t>
            </a:r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77240" y="1716673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Banco de dados da audiência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422910" y="1731645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1</a:t>
            </a:r>
            <a:endParaRPr lang="pt-BR" sz="18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777240" y="2216689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Resultado do questionário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422910" y="2231661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2</a:t>
            </a:r>
            <a:endParaRPr lang="pt-BR" sz="180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77240" y="2731677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presentação novo portal e </a:t>
            </a:r>
            <a:r>
              <a:rPr lang="pt-BR" sz="16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help</a:t>
            </a:r>
            <a:endParaRPr lang="pt-BR" sz="1600" i="1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422910" y="2746649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3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77240" y="3261544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Novos painéis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422910" y="3276516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4</a:t>
            </a:r>
            <a:endParaRPr lang="pt-BR" sz="1800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77240" y="3791411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Cases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22910" y="3806383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5</a:t>
            </a:r>
            <a:endParaRPr lang="pt-BR" sz="18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777240" y="4336250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Gerenciamento dos planos comerciais (marketing)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422910" y="4351222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6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220351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4141" y="657867"/>
            <a:ext cx="50336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Agenda do treinamento</a:t>
            </a:r>
            <a:endParaRPr lang="pt-BR" sz="22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77240" y="1716673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Banco de dados da audiência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422910" y="1731645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1</a:t>
            </a:r>
            <a:endParaRPr lang="pt-BR" sz="18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777240" y="2216689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Resultado do questionário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422910" y="2231661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2</a:t>
            </a:r>
            <a:endParaRPr lang="pt-BR" sz="180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77240" y="2731677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Apresentação novo portal e </a:t>
            </a:r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help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422910" y="2746649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/>
              <a:t>3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77240" y="3261544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prstClr val="black"/>
                </a:solidFill>
                <a:latin typeface="Trebuchet MS" panose="020B0603020202020204" pitchFamily="34" charset="0"/>
                <a:ea typeface="MS PGothic" pitchFamily="34" charset="-128"/>
              </a:rPr>
              <a:t>Novos painéis</a:t>
            </a:r>
            <a:endParaRPr lang="pt-BR" sz="1600" dirty="0">
              <a:solidFill>
                <a:prstClr val="black"/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3" name="Elipse 12"/>
          <p:cNvSpPr/>
          <p:nvPr/>
        </p:nvSpPr>
        <p:spPr>
          <a:xfrm>
            <a:off x="422910" y="3276516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4</a:t>
            </a:r>
            <a:endParaRPr lang="pt-BR" sz="1800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77240" y="3791411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Cases</a:t>
            </a:r>
            <a:endParaRPr lang="pt-BR" sz="1600" i="1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422910" y="3806383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5</a:t>
            </a:r>
            <a:endParaRPr lang="pt-BR" sz="1800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777240" y="4336250"/>
            <a:ext cx="8028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  <a:ea typeface="MS PGothic" pitchFamily="34" charset="-128"/>
              </a:rPr>
              <a:t>Gerenciamento dos planos comerciais (marketing)</a:t>
            </a:r>
            <a:endParaRPr lang="pt-BR" sz="1600" dirty="0">
              <a:solidFill>
                <a:schemeClr val="bg1">
                  <a:lumMod val="65000"/>
                </a:schemeClr>
              </a:solidFill>
              <a:latin typeface="Trebuchet MS" panose="020B0603020202020204" pitchFamily="34" charset="0"/>
              <a:ea typeface="MS PGothic" pitchFamily="34" charset="-128"/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422910" y="4351222"/>
            <a:ext cx="354330" cy="30861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800" dirty="0" smtClean="0"/>
              <a:t>6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1809089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9</TotalTime>
  <Words>911</Words>
  <Application>Microsoft Office PowerPoint</Application>
  <PresentationFormat>Personalizar</PresentationFormat>
  <Paragraphs>305</Paragraphs>
  <Slides>15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1" baseType="lpstr">
      <vt:lpstr>MS PGothic</vt:lpstr>
      <vt:lpstr>Arial</vt:lpstr>
      <vt:lpstr>Calibri</vt:lpstr>
      <vt:lpstr>Trebuchet MS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encia</dc:creator>
  <cp:lastModifiedBy>Gustavo Roberti</cp:lastModifiedBy>
  <cp:revision>30</cp:revision>
  <dcterms:created xsi:type="dcterms:W3CDTF">2014-04-01T20:14:56Z</dcterms:created>
  <dcterms:modified xsi:type="dcterms:W3CDTF">2014-09-30T19:29:23Z</dcterms:modified>
</cp:coreProperties>
</file>